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2"/>
  </p:notesMasterIdLst>
  <p:handoutMasterIdLst>
    <p:handoutMasterId r:id="rId13"/>
  </p:handoutMasterIdLst>
  <p:sldIdLst>
    <p:sldId id="462" r:id="rId5"/>
    <p:sldId id="463" r:id="rId6"/>
    <p:sldId id="464" r:id="rId7"/>
    <p:sldId id="465" r:id="rId8"/>
    <p:sldId id="466" r:id="rId9"/>
    <p:sldId id="467" r:id="rId10"/>
    <p:sldId id="468" r:id="rId1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FBDF04-946E-4AF4-967D-7D1571C2C3EA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A299C83-55F2-4E56-A34D-FA34418C5BFB}">
      <dgm:prSet phldrT="[Text]"/>
      <dgm:spPr/>
      <dgm:t>
        <a:bodyPr/>
        <a:lstStyle/>
        <a:p>
          <a:r>
            <a:rPr lang="en-US" dirty="0" smtClean="0"/>
            <a:t>Template Driven</a:t>
          </a:r>
          <a:endParaRPr lang="en-US" dirty="0"/>
        </a:p>
      </dgm:t>
    </dgm:pt>
    <dgm:pt modelId="{BF62AD88-8ADD-41CF-8B0F-B39387A6CBC2}" type="parTrans" cxnId="{CB01FD51-64A5-418E-8B5D-BF69FD969202}">
      <dgm:prSet/>
      <dgm:spPr/>
      <dgm:t>
        <a:bodyPr/>
        <a:lstStyle/>
        <a:p>
          <a:endParaRPr lang="en-US"/>
        </a:p>
      </dgm:t>
    </dgm:pt>
    <dgm:pt modelId="{9BA8ED13-A4B9-407C-B95F-CDD1B67A67A8}" type="sibTrans" cxnId="{CB01FD51-64A5-418E-8B5D-BF69FD969202}">
      <dgm:prSet/>
      <dgm:spPr/>
      <dgm:t>
        <a:bodyPr/>
        <a:lstStyle/>
        <a:p>
          <a:endParaRPr lang="en-US"/>
        </a:p>
      </dgm:t>
    </dgm:pt>
    <dgm:pt modelId="{0E6DD2DB-3861-4151-89E7-EB16DBCD3350}">
      <dgm:prSet phldrT="[Text]"/>
      <dgm:spPr/>
      <dgm:t>
        <a:bodyPr/>
        <a:lstStyle/>
        <a:p>
          <a:r>
            <a:rPr lang="en-US" dirty="0" smtClean="0"/>
            <a:t>Model Driven</a:t>
          </a:r>
          <a:endParaRPr lang="en-US" dirty="0"/>
        </a:p>
      </dgm:t>
    </dgm:pt>
    <dgm:pt modelId="{1BC4EECD-A625-433B-BE01-C5BD4FECF972}" type="parTrans" cxnId="{EAFD1F55-1E4D-4572-BAF8-1DD3F40CA1E9}">
      <dgm:prSet/>
      <dgm:spPr/>
      <dgm:t>
        <a:bodyPr/>
        <a:lstStyle/>
        <a:p>
          <a:endParaRPr lang="en-US"/>
        </a:p>
      </dgm:t>
    </dgm:pt>
    <dgm:pt modelId="{5DBBDD1B-94F4-4D94-BBD8-F0B25809F963}" type="sibTrans" cxnId="{EAFD1F55-1E4D-4572-BAF8-1DD3F40CA1E9}">
      <dgm:prSet/>
      <dgm:spPr/>
      <dgm:t>
        <a:bodyPr/>
        <a:lstStyle/>
        <a:p>
          <a:endParaRPr lang="en-US"/>
        </a:p>
      </dgm:t>
    </dgm:pt>
    <dgm:pt modelId="{E596ECCB-4764-47DC-9E6C-6B8C14A00238}" type="pres">
      <dgm:prSet presAssocID="{A3FBDF04-946E-4AF4-967D-7D1571C2C3E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1499AFA-6381-4E38-A38A-005351008709}" type="pres">
      <dgm:prSet presAssocID="{6A299C83-55F2-4E56-A34D-FA34418C5BFB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BBB67A-77BA-40E1-B3C7-6A7374C4114B}" type="pres">
      <dgm:prSet presAssocID="{9BA8ED13-A4B9-407C-B95F-CDD1B67A67A8}" presName="sibTrans" presStyleCnt="0"/>
      <dgm:spPr/>
    </dgm:pt>
    <dgm:pt modelId="{2E65F92F-00E4-4A2B-9E44-D7AED5AFA9A3}" type="pres">
      <dgm:prSet presAssocID="{0E6DD2DB-3861-4151-89E7-EB16DBCD3350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6B9281A-FC88-418C-BDCD-5A607B35AEC1}" type="presOf" srcId="{A3FBDF04-946E-4AF4-967D-7D1571C2C3EA}" destId="{E596ECCB-4764-47DC-9E6C-6B8C14A00238}" srcOrd="0" destOrd="0" presId="urn:microsoft.com/office/officeart/2005/8/layout/default"/>
    <dgm:cxn modelId="{60FB1CD1-9DF5-4C6C-B73D-F4C05D29B8F6}" type="presOf" srcId="{0E6DD2DB-3861-4151-89E7-EB16DBCD3350}" destId="{2E65F92F-00E4-4A2B-9E44-D7AED5AFA9A3}" srcOrd="0" destOrd="0" presId="urn:microsoft.com/office/officeart/2005/8/layout/default"/>
    <dgm:cxn modelId="{96082255-CC31-4268-8970-B9787A40303B}" type="presOf" srcId="{6A299C83-55F2-4E56-A34D-FA34418C5BFB}" destId="{41499AFA-6381-4E38-A38A-005351008709}" srcOrd="0" destOrd="0" presId="urn:microsoft.com/office/officeart/2005/8/layout/default"/>
    <dgm:cxn modelId="{CB01FD51-64A5-418E-8B5D-BF69FD969202}" srcId="{A3FBDF04-946E-4AF4-967D-7D1571C2C3EA}" destId="{6A299C83-55F2-4E56-A34D-FA34418C5BFB}" srcOrd="0" destOrd="0" parTransId="{BF62AD88-8ADD-41CF-8B0F-B39387A6CBC2}" sibTransId="{9BA8ED13-A4B9-407C-B95F-CDD1B67A67A8}"/>
    <dgm:cxn modelId="{EAFD1F55-1E4D-4572-BAF8-1DD3F40CA1E9}" srcId="{A3FBDF04-946E-4AF4-967D-7D1571C2C3EA}" destId="{0E6DD2DB-3861-4151-89E7-EB16DBCD3350}" srcOrd="1" destOrd="0" parTransId="{1BC4EECD-A625-433B-BE01-C5BD4FECF972}" sibTransId="{5DBBDD1B-94F4-4D94-BBD8-F0B25809F963}"/>
    <dgm:cxn modelId="{D0F33293-9499-48C1-BE21-7FE548709C99}" type="presParOf" srcId="{E596ECCB-4764-47DC-9E6C-6B8C14A00238}" destId="{41499AFA-6381-4E38-A38A-005351008709}" srcOrd="0" destOrd="0" presId="urn:microsoft.com/office/officeart/2005/8/layout/default"/>
    <dgm:cxn modelId="{1713C1C0-EF85-43FB-B048-5AAE7284E49B}" type="presParOf" srcId="{E596ECCB-4764-47DC-9E6C-6B8C14A00238}" destId="{1FBBB67A-77BA-40E1-B3C7-6A7374C4114B}" srcOrd="1" destOrd="0" presId="urn:microsoft.com/office/officeart/2005/8/layout/default"/>
    <dgm:cxn modelId="{88781EE8-825E-4C92-9E0D-8804378A9712}" type="presParOf" srcId="{E596ECCB-4764-47DC-9E6C-6B8C14A00238}" destId="{2E65F92F-00E4-4A2B-9E44-D7AED5AFA9A3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499AFA-6381-4E38-A38A-005351008709}">
      <dsp:nvSpPr>
        <dsp:cNvPr id="0" name=""/>
        <dsp:cNvSpPr/>
      </dsp:nvSpPr>
      <dsp:spPr>
        <a:xfrm>
          <a:off x="1051" y="1006503"/>
          <a:ext cx="4100735" cy="24604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/>
            <a:t>Template Driven</a:t>
          </a:r>
          <a:endParaRPr lang="en-US" sz="6500" kern="1200" dirty="0"/>
        </a:p>
      </dsp:txBody>
      <dsp:txXfrm>
        <a:off x="1051" y="1006503"/>
        <a:ext cx="4100735" cy="2460441"/>
      </dsp:txXfrm>
    </dsp:sp>
    <dsp:sp modelId="{2E65F92F-00E4-4A2B-9E44-D7AED5AFA9A3}">
      <dsp:nvSpPr>
        <dsp:cNvPr id="0" name=""/>
        <dsp:cNvSpPr/>
      </dsp:nvSpPr>
      <dsp:spPr>
        <a:xfrm>
          <a:off x="4511860" y="1006503"/>
          <a:ext cx="4100735" cy="246044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500" kern="1200" dirty="0" smtClean="0"/>
            <a:t>Model Driven</a:t>
          </a:r>
          <a:endParaRPr lang="en-US" sz="6500" kern="1200" dirty="0"/>
        </a:p>
      </dsp:txBody>
      <dsp:txXfrm>
        <a:off x="4511860" y="1006503"/>
        <a:ext cx="4100735" cy="24604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181524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91278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42987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78589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1549368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514569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039768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8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557016" y="4949633"/>
            <a:ext cx="5586985" cy="874227"/>
          </a:xfrm>
        </p:spPr>
        <p:txBody>
          <a:bodyPr>
            <a:normAutofit/>
          </a:bodyPr>
          <a:lstStyle/>
          <a:p>
            <a:pPr lvl="0"/>
            <a:r>
              <a:rPr lang="en-US" sz="2000" dirty="0" smtClean="0"/>
              <a:t>		Angular </a:t>
            </a:r>
            <a:r>
              <a:rPr lang="en-US" sz="2000" dirty="0"/>
              <a:t>2 Forms</a:t>
            </a:r>
          </a:p>
        </p:txBody>
      </p:sp>
    </p:spTree>
    <p:extLst>
      <p:ext uri="{BB962C8B-B14F-4D97-AF65-F5344CB8AC3E}">
        <p14:creationId xmlns:p14="http://schemas.microsoft.com/office/powerpoint/2010/main" val="3327382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Forms in Angular 2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65385"/>
            <a:ext cx="8845484" cy="47595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Forms are probably the most crucial aspect of your web </a:t>
            </a:r>
            <a:r>
              <a:rPr lang="en-US" sz="2000" dirty="0" smtClean="0"/>
              <a:t>application.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An Angular form coordinates a set of data-bound user controls, tracks changes, validates input, and presents </a:t>
            </a:r>
            <a:r>
              <a:rPr lang="en-US" sz="2000" dirty="0" smtClean="0"/>
              <a:t>errors</a:t>
            </a:r>
            <a:r>
              <a:rPr lang="en-US" sz="2000" dirty="0"/>
              <a:t> </a:t>
            </a:r>
            <a:r>
              <a:rPr lang="en-US" sz="2000" dirty="0" smtClean="0"/>
              <a:t>using the following tools</a:t>
            </a:r>
          </a:p>
          <a:p>
            <a:pPr lvl="1" algn="just">
              <a:lnSpc>
                <a:spcPct val="150000"/>
              </a:lnSpc>
            </a:pPr>
            <a:r>
              <a:rPr lang="en-US" sz="1600" b="1" dirty="0" err="1" smtClean="0"/>
              <a:t>FormControls</a:t>
            </a:r>
            <a:r>
              <a:rPr lang="en-US" sz="1600" dirty="0" smtClean="0"/>
              <a:t>: Encapsulate </a:t>
            </a:r>
            <a:r>
              <a:rPr lang="en-US" sz="1600" dirty="0"/>
              <a:t>the inputs in </a:t>
            </a:r>
            <a:r>
              <a:rPr lang="en-US" sz="1600" dirty="0" smtClean="0"/>
              <a:t>forms </a:t>
            </a:r>
            <a:r>
              <a:rPr lang="en-US" sz="1600" dirty="0"/>
              <a:t>and give </a:t>
            </a:r>
            <a:r>
              <a:rPr lang="en-US" sz="1600" dirty="0" smtClean="0"/>
              <a:t>the </a:t>
            </a:r>
            <a:r>
              <a:rPr lang="en-US" sz="1600" dirty="0"/>
              <a:t>objects to work with them</a:t>
            </a:r>
          </a:p>
          <a:p>
            <a:pPr lvl="1" algn="just">
              <a:lnSpc>
                <a:spcPct val="150000"/>
              </a:lnSpc>
            </a:pPr>
            <a:r>
              <a:rPr lang="en-US" sz="1600" b="1" dirty="0" smtClean="0"/>
              <a:t>Validators</a:t>
            </a:r>
            <a:r>
              <a:rPr lang="en-US" sz="1600" dirty="0" smtClean="0"/>
              <a:t>: Gives the </a:t>
            </a:r>
            <a:r>
              <a:rPr lang="en-US" sz="1600" dirty="0"/>
              <a:t>ability to validate </a:t>
            </a:r>
            <a:r>
              <a:rPr lang="en-US" sz="1600" dirty="0" smtClean="0"/>
              <a:t>inputs</a:t>
            </a:r>
            <a:endParaRPr lang="en-US" sz="1600" dirty="0"/>
          </a:p>
          <a:p>
            <a:pPr lvl="1" algn="just">
              <a:lnSpc>
                <a:spcPct val="150000"/>
              </a:lnSpc>
            </a:pPr>
            <a:r>
              <a:rPr lang="en-US" sz="1600" b="1" dirty="0" smtClean="0"/>
              <a:t>Observers</a:t>
            </a:r>
            <a:r>
              <a:rPr lang="en-US" sz="1600" dirty="0" smtClean="0"/>
              <a:t>:  watch form </a:t>
            </a:r>
            <a:r>
              <a:rPr lang="en-US" sz="1600" dirty="0"/>
              <a:t>for changes and respond </a:t>
            </a:r>
            <a:r>
              <a:rPr lang="en-US" sz="1600" dirty="0" smtClean="0"/>
              <a:t>accordingly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To use the Forms library we need </a:t>
            </a:r>
            <a:r>
              <a:rPr lang="en-US" sz="2000" dirty="0"/>
              <a:t>to import </a:t>
            </a:r>
            <a:r>
              <a:rPr lang="en-US" sz="2000" i="1" dirty="0" err="1"/>
              <a:t>FormsModule</a:t>
            </a:r>
            <a:r>
              <a:rPr lang="en-US" sz="2000" dirty="0"/>
              <a:t> or using </a:t>
            </a:r>
            <a:r>
              <a:rPr lang="en-US" sz="2000" i="1" dirty="0" err="1" smtClean="0"/>
              <a:t>ReactiveFormsModule</a:t>
            </a:r>
            <a:r>
              <a:rPr lang="en-US" sz="2000" i="1" dirty="0" smtClean="0"/>
              <a:t> in </a:t>
            </a:r>
            <a:r>
              <a:rPr lang="en-US" sz="2000" i="1" dirty="0" err="1" smtClean="0"/>
              <a:t>app.ts</a:t>
            </a:r>
            <a:r>
              <a:rPr lang="en-US" sz="2000" dirty="0" smtClean="0"/>
              <a:t>.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err="1"/>
              <a:t>FormsModule</a:t>
            </a:r>
            <a:r>
              <a:rPr lang="en-US" sz="1600" dirty="0"/>
              <a:t> gives </a:t>
            </a:r>
            <a:r>
              <a:rPr lang="en-US" sz="1600" dirty="0" smtClean="0"/>
              <a:t>template </a:t>
            </a:r>
            <a:r>
              <a:rPr lang="en-US" sz="1600" dirty="0"/>
              <a:t>driven directives such as </a:t>
            </a:r>
            <a:r>
              <a:rPr lang="en-US" sz="1600" dirty="0" err="1"/>
              <a:t>ngModel</a:t>
            </a:r>
            <a:r>
              <a:rPr lang="en-US" sz="1600" dirty="0"/>
              <a:t> </a:t>
            </a:r>
            <a:r>
              <a:rPr lang="en-US" sz="1600" dirty="0" smtClean="0"/>
              <a:t>and </a:t>
            </a:r>
            <a:r>
              <a:rPr lang="en-US" sz="1600" dirty="0" err="1" smtClean="0"/>
              <a:t>NgForm</a:t>
            </a:r>
            <a:endParaRPr lang="en-US" sz="1600" dirty="0" smtClean="0"/>
          </a:p>
          <a:p>
            <a:pPr lvl="1" algn="just">
              <a:lnSpc>
                <a:spcPct val="150000"/>
              </a:lnSpc>
            </a:pPr>
            <a:r>
              <a:rPr lang="en-US" sz="1600" dirty="0" err="1"/>
              <a:t>ReactiveFormsModule</a:t>
            </a:r>
            <a:r>
              <a:rPr lang="en-US" sz="1600" dirty="0"/>
              <a:t> gives directives like </a:t>
            </a:r>
            <a:r>
              <a:rPr lang="en-US" sz="1600" dirty="0" err="1"/>
              <a:t>formControl</a:t>
            </a:r>
            <a:r>
              <a:rPr lang="en-US" sz="1600" dirty="0"/>
              <a:t> </a:t>
            </a:r>
            <a:r>
              <a:rPr lang="en-US" sz="1600" dirty="0" smtClean="0"/>
              <a:t>and </a:t>
            </a:r>
            <a:r>
              <a:rPr lang="en-US" sz="1600" dirty="0" err="1" smtClean="0"/>
              <a:t>ngFormGroup</a:t>
            </a:r>
            <a:endParaRPr lang="en-US" sz="1600" dirty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352620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Two ways to build forms in Angular </a:t>
            </a:r>
            <a:r>
              <a:rPr lang="en-US" dirty="0"/>
              <a:t>2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614951201"/>
              </p:ext>
            </p:extLst>
          </p:nvPr>
        </p:nvGraphicFramePr>
        <p:xfrm>
          <a:off x="237744" y="1579880"/>
          <a:ext cx="8613648" cy="4473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68631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Template Driven Form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65385"/>
            <a:ext cx="8845484" cy="47595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Forms </a:t>
            </a:r>
            <a:r>
              <a:rPr lang="en-US" sz="2000" dirty="0" smtClean="0"/>
              <a:t>build by </a:t>
            </a:r>
            <a:r>
              <a:rPr lang="en-US" sz="2000" dirty="0"/>
              <a:t>writing templates in the Angular template syntax with the form-specific directives and techniques </a:t>
            </a:r>
            <a:r>
              <a:rPr lang="en-US" sz="2000" dirty="0" smtClean="0"/>
              <a:t>are called as Template Driven Forms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is setup and configured in HTML Code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Angular2 “infers” the </a:t>
            </a:r>
            <a:r>
              <a:rPr lang="en-US" sz="2000" dirty="0" err="1" smtClean="0"/>
              <a:t>FormGroup</a:t>
            </a:r>
            <a:r>
              <a:rPr lang="en-US" sz="2000" dirty="0" smtClean="0"/>
              <a:t> from HTML Code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data is passed via </a:t>
            </a:r>
            <a:r>
              <a:rPr lang="en-US" sz="2000" dirty="0" err="1" smtClean="0"/>
              <a:t>ngSubmit</a:t>
            </a:r>
            <a:r>
              <a:rPr lang="en-US" sz="2000" dirty="0" smtClean="0"/>
              <a:t>()</a:t>
            </a:r>
            <a:endParaRPr lang="en-US" sz="16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637323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TemplateDriven</a:t>
            </a:r>
            <a:r>
              <a:rPr lang="en-US" dirty="0"/>
              <a:t>-Form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8034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Model Driven Form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65385"/>
            <a:ext cx="8845484" cy="47595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Forms </a:t>
            </a:r>
            <a:r>
              <a:rPr lang="en-US" sz="2000" dirty="0" smtClean="0"/>
              <a:t>build by </a:t>
            </a:r>
            <a:r>
              <a:rPr lang="en-US" sz="2000" dirty="0"/>
              <a:t>writing templates in the Angular template syntax with the form-specific directives and techniques </a:t>
            </a:r>
            <a:r>
              <a:rPr lang="en-US" sz="2000" dirty="0" smtClean="0"/>
              <a:t>are called as Template Driven Forms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is setup and configured in HTML Code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Angular2 “infers” the </a:t>
            </a:r>
            <a:r>
              <a:rPr lang="en-US" sz="2000" dirty="0" err="1" smtClean="0"/>
              <a:t>FormGroup</a:t>
            </a:r>
            <a:r>
              <a:rPr lang="en-US" sz="2000" dirty="0" smtClean="0"/>
              <a:t> from HTML Code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m data is passed via </a:t>
            </a:r>
            <a:r>
              <a:rPr lang="en-US" sz="2000" dirty="0" err="1" smtClean="0"/>
              <a:t>ngSubmit</a:t>
            </a:r>
            <a:r>
              <a:rPr lang="en-US" sz="2000" dirty="0" smtClean="0"/>
              <a:t>()</a:t>
            </a:r>
            <a:endParaRPr lang="en-US" sz="16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53651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TemplateDriven</a:t>
            </a:r>
            <a:r>
              <a:rPr lang="en-US" dirty="0"/>
              <a:t>-Form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30769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97A14D-DEC0-4212-9CD7-885B34856C25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86</TotalTime>
  <Words>270</Words>
  <Application>Microsoft Office PowerPoint</Application>
  <PresentationFormat>On-screen Show (4:3)</PresentationFormat>
  <Paragraphs>37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Angular 2</vt:lpstr>
      <vt:lpstr>Forms in Angular 2</vt:lpstr>
      <vt:lpstr>Two ways to build forms in Angular 2</vt:lpstr>
      <vt:lpstr>Template Driven Forms</vt:lpstr>
      <vt:lpstr>Demo</vt:lpstr>
      <vt:lpstr>Model Driven Form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12</cp:revision>
  <cp:lastPrinted>2016-10-16T23:19:34Z</cp:lastPrinted>
  <dcterms:created xsi:type="dcterms:W3CDTF">2012-05-18T02:59:15Z</dcterms:created>
  <dcterms:modified xsi:type="dcterms:W3CDTF">2017-02-13T00:5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